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8" r:id="rId2"/>
    <p:sldId id="259" r:id="rId3"/>
    <p:sldId id="271" r:id="rId4"/>
    <p:sldId id="272" r:id="rId5"/>
    <p:sldId id="273" r:id="rId6"/>
    <p:sldId id="274" r:id="rId7"/>
    <p:sldId id="294" r:id="rId8"/>
    <p:sldId id="295" r:id="rId9"/>
    <p:sldId id="296" r:id="rId10"/>
    <p:sldId id="275" r:id="rId11"/>
    <p:sldId id="277" r:id="rId12"/>
    <p:sldId id="278" r:id="rId13"/>
    <p:sldId id="279" r:id="rId14"/>
    <p:sldId id="280" r:id="rId15"/>
    <p:sldId id="281" r:id="rId16"/>
    <p:sldId id="282" r:id="rId17"/>
    <p:sldId id="283" r:id="rId18"/>
    <p:sldId id="284" r:id="rId19"/>
    <p:sldId id="285" r:id="rId20"/>
    <p:sldId id="286" r:id="rId21"/>
    <p:sldId id="287" r:id="rId22"/>
    <p:sldId id="288" r:id="rId23"/>
    <p:sldId id="289" r:id="rId24"/>
    <p:sldId id="291" r:id="rId25"/>
    <p:sldId id="292" r:id="rId26"/>
    <p:sldId id="293" r:id="rId27"/>
  </p:sldIdLst>
  <p:sldSz cx="12192000" cy="6858000"/>
  <p:notesSz cx="6858000" cy="9144000"/>
  <p:embeddedFontLst>
    <p:embeddedFont>
      <p:font typeface="Merck" panose="02060803030401040103" pitchFamily="18" charset="0"/>
      <p:regular r:id="rId30"/>
    </p:embeddedFont>
    <p:embeddedFont>
      <p:font typeface="Verdana" panose="020B0604030504040204" pitchFamily="34" charset="0"/>
      <p:regular r:id="rId31"/>
      <p:bold r:id="rId32"/>
      <p:italic r:id="rId33"/>
      <p:boldItalic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>
        <p:scale>
          <a:sx n="81" d="100"/>
          <a:sy n="81" d="100"/>
        </p:scale>
        <p:origin x="-258" y="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2" d="100"/>
          <a:sy n="102" d="100"/>
        </p:scale>
        <p:origin x="325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3022" y="357188"/>
            <a:ext cx="5900316" cy="496888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defTabSz="914377"/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 anchorCtr="0"/>
          <a:lstStyle/>
          <a:p>
            <a:pPr defTabSz="914377"/>
            <a:fld id="{B5DEFBAB-FB4D-49BD-8AD6-E81783D0CA4E}" type="slidenum">
              <a:rPr lang="en-US" sz="1000" smtClean="0">
                <a:solidFill>
                  <a:schemeClr val="accent1"/>
                </a:solidFill>
              </a:rPr>
              <a:pPr defTabSz="914377"/>
              <a:t>‹#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1169" y="8316418"/>
            <a:ext cx="1486196" cy="71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1363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844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en-US" smtClean="0"/>
              <a:pPr defTabSz="914377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935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en-US" smtClean="0"/>
              <a:pPr defTabSz="914377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173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890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68665" y="5341463"/>
            <a:ext cx="2520000" cy="1254424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047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495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35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00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73469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16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2655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754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961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" name="Gruppieren 1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162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4038600" y="2404526"/>
            <a:ext cx="4114800" cy="204836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38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22281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9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406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220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785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055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087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0891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331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60485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125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70819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00991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40" imgW="353" imgH="353" progId="TCLayout.ActiveDocument.1">
                  <p:embed/>
                </p:oleObj>
              </mc:Choice>
              <mc:Fallback>
                <p:oleObj name="think-cell Slide" r:id="rId4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8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 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39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60" r:id="rId5"/>
    <p:sldLayoutId id="2147483662" r:id="rId6"/>
    <p:sldLayoutId id="2147483690" r:id="rId7"/>
    <p:sldLayoutId id="2147483691" r:id="rId8"/>
    <p:sldLayoutId id="2147483692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  <p:sldLayoutId id="2147483693" r:id="rId34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maven.apache.org/download.cgi" TargetMode="External"/><Relationship Id="rId2" Type="http://schemas.openxmlformats.org/officeDocument/2006/relationships/hyperlink" Target="https://www.sonarqube.org/downloads/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localhost:9000/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clemma.org/" TargetMode="External"/><Relationship Id="rId2" Type="http://schemas.openxmlformats.org/officeDocument/2006/relationships/hyperlink" Target="http://www.sonarlint.org/eclipse/" TargetMode="External"/><Relationship Id="rId1" Type="http://schemas.openxmlformats.org/officeDocument/2006/relationships/slideLayout" Target="../slideLayouts/slideLayout34.xml"/><Relationship Id="rId4" Type="http://schemas.openxmlformats.org/officeDocument/2006/relationships/hyperlink" Target="https://www.sonarqube.org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5159375" y="3644826"/>
            <a:ext cx="6408738" cy="576262"/>
          </a:xfrm>
        </p:spPr>
        <p:txBody>
          <a:bodyPr/>
          <a:lstStyle/>
          <a:p>
            <a:r>
              <a:rPr lang="en-US" dirty="0" smtClean="0"/>
              <a:t>Marri Narayana Reddy</a:t>
            </a:r>
          </a:p>
          <a:p>
            <a:r>
              <a:rPr lang="en-US" dirty="0" smtClean="0"/>
              <a:t>07-09-2017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US" dirty="0" smtClean="0"/>
              <a:t>JAVA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160000" y="1532405"/>
            <a:ext cx="6408113" cy="1249282"/>
          </a:xfrm>
        </p:spPr>
        <p:txBody>
          <a:bodyPr/>
          <a:lstStyle/>
          <a:p>
            <a:r>
              <a:rPr lang="en-US" dirty="0"/>
              <a:t>Code Coverage Tools</a:t>
            </a:r>
          </a:p>
        </p:txBody>
      </p:sp>
    </p:spTree>
    <p:extLst>
      <p:ext uri="{BB962C8B-B14F-4D97-AF65-F5344CB8AC3E}">
        <p14:creationId xmlns:p14="http://schemas.microsoft.com/office/powerpoint/2010/main" val="123911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EclEmma – Is a  java code coverage tool used to measure unit test coverage against source code. It is a open source eclipse plugin and available under ‘Eclipse Public license’.</a:t>
            </a:r>
            <a:endParaRPr lang="en-IN" dirty="0"/>
          </a:p>
          <a:p>
            <a:r>
              <a:rPr lang="en-US" b="1" dirty="0"/>
              <a:t>EclEmma eclipse Plugin Setup </a:t>
            </a:r>
          </a:p>
          <a:p>
            <a:pPr lvl="1"/>
            <a:r>
              <a:rPr lang="en-US" dirty="0"/>
              <a:t>Navigate to Eclipse -&gt; Help -&gt; Eclipse Market Place -&gt; Search for EclEmma plugin </a:t>
            </a:r>
          </a:p>
          <a:p>
            <a:pPr lvl="1"/>
            <a:r>
              <a:rPr lang="en-US" dirty="0"/>
              <a:t>Select and Install plugin </a:t>
            </a:r>
          </a:p>
          <a:p>
            <a:endParaRPr lang="en-IN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Unit Test Coverage Tools</a:t>
            </a:r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.EclEMMA</a:t>
            </a:r>
            <a:endParaRPr lang="en-I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720" y="2852936"/>
            <a:ext cx="5010150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96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Configuration : Navigate to Coverage launcher -&gt; Coverage Configurations and include the source files for coverage measure </a:t>
            </a:r>
            <a:endParaRPr lang="en-US" dirty="0" smtClean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lEmma – Configuration</a:t>
            </a:r>
            <a:endParaRPr lang="en-IN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2420888"/>
            <a:ext cx="6624736" cy="3744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715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8044" y="1484313"/>
            <a:ext cx="6415912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7697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clipse -&gt; Project explorer -&gt; Select src\tests -&gt;Right click -&gt; Coverage as -&gt; Select Junit test</a:t>
            </a: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lEmma –Usage</a:t>
            </a:r>
            <a:endParaRPr lang="en-I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916832"/>
            <a:ext cx="7128792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5959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verage report will be displayed in the eclipse execution window after test execution is competed .</a:t>
            </a:r>
          </a:p>
          <a:p>
            <a:r>
              <a:rPr lang="en-US" dirty="0" smtClean="0"/>
              <a:t>    </a:t>
            </a:r>
          </a:p>
          <a:p>
            <a:endParaRPr lang="en-IN" dirty="0"/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lEmma – Report view</a:t>
            </a:r>
            <a:endParaRPr lang="en-I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0" y="2060848"/>
            <a:ext cx="8610600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266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pic>
        <p:nvPicPr>
          <p:cNvPr id="8" name="Picture 3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83" y="1772816"/>
            <a:ext cx="5754639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098" y="1772816"/>
            <a:ext cx="4824536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ight Arrow 10"/>
          <p:cNvSpPr/>
          <p:nvPr/>
        </p:nvSpPr>
        <p:spPr bwMode="gray">
          <a:xfrm>
            <a:off x="6312024" y="2996952"/>
            <a:ext cx="288032" cy="45719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rt report -&gt;View in brows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4610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1196752"/>
            <a:ext cx="6114679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1212208"/>
            <a:ext cx="4464496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ight Arrow 8"/>
          <p:cNvSpPr/>
          <p:nvPr/>
        </p:nvSpPr>
        <p:spPr bwMode="gray">
          <a:xfrm>
            <a:off x="6600056" y="3284984"/>
            <a:ext cx="504056" cy="195476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0577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5400" y="6749914"/>
            <a:ext cx="8718972" cy="216172"/>
          </a:xfrm>
        </p:spPr>
        <p:txBody>
          <a:bodyPr/>
          <a:lstStyle/>
          <a:p>
            <a:r>
              <a:rPr lang="en-US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narQube </a:t>
            </a: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de-DE" dirty="0"/>
              <a:t>Centralized server .</a:t>
            </a: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de-DE" dirty="0"/>
              <a:t>Dashboards to view code quality of the complete code bas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acoco Plugin </a:t>
            </a:r>
          </a:p>
          <a:p>
            <a:pPr marL="0" lvl="1" indent="0">
              <a:buNone/>
            </a:pPr>
            <a:r>
              <a:rPr lang="en-US" dirty="0" smtClean="0"/>
              <a:t>	Jacoco </a:t>
            </a:r>
            <a:r>
              <a:rPr lang="en-US" dirty="0"/>
              <a:t>is open source  java code coverage library . Jacoco coverage metrics will be published </a:t>
            </a:r>
            <a:r>
              <a:rPr lang="en-US" dirty="0" smtClean="0"/>
              <a:t>   using </a:t>
            </a:r>
            <a:r>
              <a:rPr lang="en-US" dirty="0"/>
              <a:t>Sonarqube </a:t>
            </a:r>
            <a:endParaRPr lang="en-IN" dirty="0"/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SonarQube with Jacoco Plugin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6487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ownload SonarQube Server and install in local machine. Use below link to download latest version of SonarQube,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IN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</a:t>
            </a:r>
            <a:r>
              <a:rPr lang="en-IN" sz="18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2"/>
              </a:rPr>
              <a:t>https://www.sonarqube.org/downloads/</a:t>
            </a:r>
            <a:endParaRPr lang="en-IN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xtract the zip  and  open command prompt and navigate to the path   &lt;Downloaded path&gt;\sonarqube-6.5\sonarqube-6.5\bin\windows-x86-64  and run the “InstallNTService.bat” file</a:t>
            </a: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o Start the Sonarqube service run “StartNTService.bat”  as administrator</a:t>
            </a: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Now  configure the SonarQube in Maven.</a:t>
            </a: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ownload the Maven using the below link,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3"/>
              </a:rPr>
              <a:t>https://maven.apache.org/download.cgi</a:t>
            </a: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xtract the zip and go to the below path and modify the setting.xml,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C:\Maven\conf\settings.xml</a:t>
            </a:r>
          </a:p>
          <a:p>
            <a:pPr marL="285750" lvl="0" indent="-28575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 setting.xml  modify the following tags,</a:t>
            </a:r>
            <a:endParaRPr lang="en-IN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narqube -Setup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2813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 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luginGroups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tag, we need to add the blow,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&l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luginGroup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rg.sonarsource.scanner.maven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lt;/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luginGroup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 profiles tag, need to add the below,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&lt;profile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&lt;id&gt;sonar&lt;/id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&lt;activation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           &l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ctiveByDefault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true&lt;/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ctiveByDefault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&lt;/activation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 &lt;properties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    	&lt;!-- Optional URL to server. Default value is http://localhost:9000 --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    	&lt;sonar.host.url&gt;http://localhost:9000&lt;/sonar.host.url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	&l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.core.codeCoveragePlugin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jacoco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lt;/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.core.codeCoveragePlugin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&l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.dynamicAnalysis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useReports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lt;/</a:t>
            </a:r>
            <a:r>
              <a:rPr lang="en-US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.dynamicAnalysis</a:t>
            </a: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       &lt;/properties&gt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  &lt;/profile&gt;</a:t>
            </a:r>
            <a:endParaRPr lang="en-IN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…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0120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atic code analysis tool  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–"/>
            </a:pP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Lint </a:t>
            </a:r>
          </a:p>
          <a:p>
            <a:pPr marL="342900" lvl="1" indent="-3429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Unit test code coverage tools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–"/>
            </a:pP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clEmma</a:t>
            </a:r>
          </a:p>
          <a:p>
            <a:pPr marL="742950" lvl="1" indent="-28575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–"/>
            </a:pP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Qube  with Jacoco code coverage plugin</a:t>
            </a:r>
          </a:p>
          <a:p>
            <a:pPr marL="457200" lvl="1" inden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None/>
            </a:pPr>
            <a:endParaRPr lang="en-US" sz="2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Coverage Tools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5080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Below Environment variables  should be added 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ight Click My Computer 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  <a:sym typeface="Wingdings" panose="05000000000000000000" pitchFamily="2" charset="2"/>
              </a:rPr>
              <a:t> properties  Advanced system settings  Environment Variable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 User Variables click new and add the below,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Variable Name : JAVA_HOME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	Variable Value : C:\Program \Files\Java\jdk1.8.0_121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 System Variables select path and click edit then add the below,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C:\Users\X188691\Downloads\sonarqube-6.5\sonarqube- 6.5\bin;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C:\Program Files\Java\jdk1.8.0_121\bin</a:t>
            </a:r>
            <a:r>
              <a:rPr lang="en-US" sz="25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;</a:t>
            </a: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…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6003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pen command prompt and navigate to project directory path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20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Ex: </a:t>
            </a:r>
            <a:r>
              <a:rPr lang="en-US" sz="11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:\Yoda\recipe-management\recipe-editor\Recipe_Editor_Backend\RepositoryBackendApplication&gt; 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un the below commands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	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vn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clean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To start code coverage execution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20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	 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vn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clean 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rg.jacoco:jacoco-maven-plugin:prepare-agent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install -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coverage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per-test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 </a:t>
            </a: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To process code analysis report using 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qube</a:t>
            </a: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lvl="0">
              <a:spcBef>
                <a:spcPct val="20000"/>
              </a:spcBef>
              <a:spcAft>
                <a:spcPts val="0"/>
              </a:spcAft>
            </a:pPr>
            <a:r>
              <a:rPr lang="en-US" sz="20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     	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vn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</a:t>
            </a:r>
            <a:r>
              <a:rPr lang="en-US" sz="18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onar:sonar</a:t>
            </a: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fter  successful execution of above commands  report will be  viewable in the browser </a:t>
            </a:r>
          </a:p>
          <a:p>
            <a:endParaRPr lang="en-IN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onarQube + Jacoco</a:t>
            </a:r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3650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Load URL  </a:t>
            </a: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2"/>
              </a:rPr>
              <a:t>http://localhost:9000</a:t>
            </a:r>
            <a:r>
              <a:rPr lang="en-US" sz="2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in </a:t>
            </a:r>
            <a:r>
              <a:rPr lang="en-US" sz="28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browser</a:t>
            </a:r>
          </a:p>
          <a:p>
            <a:pPr marL="342900" lvl="0" indent="-342900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3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narQube - Report</a:t>
            </a:r>
            <a:endParaRPr lang="en-I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1988840"/>
            <a:ext cx="8656320" cy="4176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5718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…</a:t>
            </a:r>
            <a:endParaRPr lang="en-IN" dirty="0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545" y="1484313"/>
            <a:ext cx="8196910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679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63553" y="1485000"/>
            <a:ext cx="9001000" cy="4176248"/>
          </a:xfrm>
        </p:spPr>
        <p:txBody>
          <a:bodyPr/>
          <a:lstStyle/>
          <a:p>
            <a:endParaRPr lang="en-IN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273" y="1412776"/>
            <a:ext cx="11582400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88124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…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545" y="1484313"/>
            <a:ext cx="8196910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9052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2"/>
              </a:rPr>
              <a:t>http://www.sonarlint.org/eclipse/</a:t>
            </a:r>
            <a:endParaRPr lang="en-US" sz="3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3"/>
              </a:rPr>
              <a:t>http://www.eclemma.org/</a:t>
            </a:r>
            <a:endParaRPr lang="en-US" sz="3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3200" dirty="0">
                <a:solidFill>
                  <a:prstClr val="black"/>
                </a:solidFill>
                <a:latin typeface="Calibri"/>
                <a:ea typeface="+mn-ea"/>
                <a:cs typeface="+mn-cs"/>
                <a:hlinkClick r:id="rId4"/>
              </a:rPr>
              <a:t>https://www.sonarqube.org/</a:t>
            </a:r>
            <a:endParaRPr lang="en-US" sz="3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342900" lvl="0" indent="-3429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3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4813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1067324" y="6381328"/>
            <a:ext cx="8718972" cy="216172"/>
          </a:xfrm>
        </p:spPr>
        <p:txBody>
          <a:bodyPr/>
          <a:lstStyle/>
          <a:p>
            <a:r>
              <a:rPr lang="en-US" noProof="0" dirty="0" smtClean="0"/>
              <a:t> 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SonarLint – is a static code analysis tool and is eclipse plugin that provides on the fly feedback to developers on code quality.  </a:t>
            </a:r>
            <a:endParaRPr lang="en-US" dirty="0" smtClean="0"/>
          </a:p>
          <a:p>
            <a:r>
              <a:rPr lang="en-US" dirty="0"/>
              <a:t>SonarLint eclipse Plugin Setup </a:t>
            </a:r>
          </a:p>
          <a:p>
            <a:pPr lvl="1"/>
            <a:r>
              <a:rPr lang="en-US" dirty="0"/>
              <a:t>Navigate to Eclipse -&gt; Help -&gt; Eclipse Market Place -&gt; Search for SonarLint plugin </a:t>
            </a:r>
          </a:p>
          <a:p>
            <a:pPr lvl="1"/>
            <a:r>
              <a:rPr lang="en-US" dirty="0"/>
              <a:t>Select and Install plugin </a:t>
            </a:r>
          </a:p>
          <a:p>
            <a:endParaRPr lang="en-US" dirty="0" smtClean="0"/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c code analysis </a:t>
            </a:r>
            <a:r>
              <a:rPr lang="en-US" dirty="0" smtClean="0"/>
              <a:t>tool –setup </a:t>
            </a:r>
            <a:endParaRPr lang="en-I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744" y="3068960"/>
            <a:ext cx="3270132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141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 smtClean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How to use </a:t>
            </a:r>
          </a:p>
          <a:p>
            <a:pPr lvl="1"/>
            <a:r>
              <a:rPr lang="en-US" dirty="0"/>
              <a:t>SonarLint can be run on whole project source or on single source file</a:t>
            </a:r>
          </a:p>
          <a:p>
            <a:pPr lvl="1"/>
            <a:r>
              <a:rPr lang="en-US" dirty="0"/>
              <a:t>Right click on project folder or right click on single  Java file </a:t>
            </a:r>
          </a:p>
          <a:p>
            <a:pPr lvl="1"/>
            <a:r>
              <a:rPr lang="en-US" dirty="0"/>
              <a:t>Select SonarLint -&gt; Analyze button </a:t>
            </a:r>
          </a:p>
          <a:p>
            <a:pPr lvl="1"/>
            <a:r>
              <a:rPr lang="en-US" dirty="0"/>
              <a:t>SonarLint report will be generated </a:t>
            </a:r>
          </a:p>
          <a:p>
            <a:pPr lvl="1"/>
            <a:r>
              <a:rPr lang="en-US" dirty="0"/>
              <a:t>Double click on error /warning  in report will open source file and point to issue </a:t>
            </a:r>
          </a:p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narLint - Usag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31631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1199456" y="6309320"/>
            <a:ext cx="8718972" cy="216172"/>
          </a:xfrm>
        </p:spPr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pic>
        <p:nvPicPr>
          <p:cNvPr id="7" name="Picture 3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545" y="1484313"/>
            <a:ext cx="8196910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76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…</a:t>
            </a:r>
            <a:endParaRPr lang="en-IN" dirty="0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545" y="1484313"/>
            <a:ext cx="8196910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2390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1160450" y="6309320"/>
            <a:ext cx="8718972" cy="216172"/>
          </a:xfrm>
        </p:spPr>
        <p:txBody>
          <a:bodyPr/>
          <a:lstStyle/>
          <a:p>
            <a:r>
              <a:rPr lang="en-US" dirty="0"/>
              <a:t>07.09.2017</a:t>
            </a:r>
          </a:p>
          <a:p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clipse -&gt;Project directory -&gt; Right click -&gt; SonarLint -&gt; Bind to sonar project -&gt;Connect to Sonar </a:t>
            </a:r>
            <a:r>
              <a:rPr lang="en-US" dirty="0" err="1" smtClean="0"/>
              <a:t>Qube</a:t>
            </a:r>
            <a:r>
              <a:rPr lang="en-US" dirty="0" smtClean="0"/>
              <a:t> server (Note: Sonarqube server setup steps available in later slid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bind SonarLint to Sonarqube(optional step)</a:t>
            </a:r>
            <a:endParaRPr lang="en-IN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30" y="2276872"/>
            <a:ext cx="4824536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376" y="2410055"/>
            <a:ext cx="5040560" cy="3771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ight Arrow 6"/>
          <p:cNvSpPr/>
          <p:nvPr/>
        </p:nvSpPr>
        <p:spPr bwMode="gray">
          <a:xfrm>
            <a:off x="5519936" y="4005064"/>
            <a:ext cx="504056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6023992" y="2780928"/>
            <a:ext cx="1008112" cy="4320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Oval 8"/>
          <p:cNvSpPr/>
          <p:nvPr/>
        </p:nvSpPr>
        <p:spPr bwMode="gray">
          <a:xfrm>
            <a:off x="6096000" y="2780928"/>
            <a:ext cx="987979" cy="216024"/>
          </a:xfrm>
          <a:prstGeom prst="ellips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88669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07.09.2017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3" y="1484784"/>
            <a:ext cx="5328592" cy="413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032" y="1459429"/>
            <a:ext cx="5159896" cy="413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ight Arrow 6"/>
          <p:cNvSpPr/>
          <p:nvPr/>
        </p:nvSpPr>
        <p:spPr bwMode="gray">
          <a:xfrm>
            <a:off x="6096000" y="2996952"/>
            <a:ext cx="288032" cy="72008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IN" sz="1600" kern="0" dirty="0" err="1" smtClean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9933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 smtClean="0"/>
              <a:t>07.09.2017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lect User name + Password and enter User name as  admin and Password as admin in the next screen and follow the instructions and </a:t>
            </a:r>
            <a:r>
              <a:rPr lang="en-US" dirty="0" err="1" smtClean="0"/>
              <a:t>finsih</a:t>
            </a:r>
            <a:r>
              <a:rPr lang="en-US" dirty="0" smtClean="0"/>
              <a:t> the setup</a:t>
            </a:r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 …</a:t>
            </a:r>
            <a:endParaRPr lang="en-IN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12" y="1938140"/>
            <a:ext cx="3456384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5372" y="1938140"/>
            <a:ext cx="3384376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466" y="2043501"/>
            <a:ext cx="3432149" cy="37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2670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_9.potx" id="{CB3CB928-E6FA-4A0C-920A-772997EA9978}" vid="{C77D71CE-B93D-4A46-B8D0-5D8D8D356DB7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rck Master EN 16_9</Template>
  <TotalTime>10543</TotalTime>
  <Words>534</Words>
  <Application>Microsoft Office PowerPoint</Application>
  <PresentationFormat>Custom</PresentationFormat>
  <Paragraphs>160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Merck</vt:lpstr>
      <vt:lpstr>Wingdings</vt:lpstr>
      <vt:lpstr>Verdana</vt:lpstr>
      <vt:lpstr>Calibri</vt:lpstr>
      <vt:lpstr>Symbol</vt:lpstr>
      <vt:lpstr>Merck</vt:lpstr>
      <vt:lpstr>think-cell Slide</vt:lpstr>
      <vt:lpstr>Code Coverage Tools</vt:lpstr>
      <vt:lpstr>Code Coverage Tools </vt:lpstr>
      <vt:lpstr>Static code analysis tool –setup </vt:lpstr>
      <vt:lpstr>SonarLint - Usage</vt:lpstr>
      <vt:lpstr>Continue …</vt:lpstr>
      <vt:lpstr>Continue…</vt:lpstr>
      <vt:lpstr>How to bind SonarLint to Sonarqube(optional step)</vt:lpstr>
      <vt:lpstr>Continue …</vt:lpstr>
      <vt:lpstr>Continue …</vt:lpstr>
      <vt:lpstr>1.EclEMMA</vt:lpstr>
      <vt:lpstr>EclEmma – Configuration</vt:lpstr>
      <vt:lpstr>Continue …</vt:lpstr>
      <vt:lpstr>EclEmma –Usage</vt:lpstr>
      <vt:lpstr>EclEmma – Report view</vt:lpstr>
      <vt:lpstr>Export report -&gt;View in browser</vt:lpstr>
      <vt:lpstr>Continue …</vt:lpstr>
      <vt:lpstr>2.SonarQube with Jacoco Plugin </vt:lpstr>
      <vt:lpstr>Sonarqube -Setup </vt:lpstr>
      <vt:lpstr>Continue…</vt:lpstr>
      <vt:lpstr>Continue…</vt:lpstr>
      <vt:lpstr>Usage</vt:lpstr>
      <vt:lpstr>SonarQube - Report</vt:lpstr>
      <vt:lpstr>Continue…</vt:lpstr>
      <vt:lpstr>Continue …</vt:lpstr>
      <vt:lpstr>Continue…</vt:lpstr>
      <vt:lpstr>Referenc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riNarayanaReddy</dc:creator>
  <cp:lastModifiedBy>Doddabasayya Shivayogimath</cp:lastModifiedBy>
  <cp:revision>40</cp:revision>
  <dcterms:created xsi:type="dcterms:W3CDTF">2017-08-28T08:36:44Z</dcterms:created>
  <dcterms:modified xsi:type="dcterms:W3CDTF">2017-09-08T03:47:50Z</dcterms:modified>
</cp:coreProperties>
</file>